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324" r:id="rId3"/>
    <p:sldId id="321" r:id="rId4"/>
    <p:sldId id="322" r:id="rId5"/>
    <p:sldId id="323" r:id="rId6"/>
    <p:sldId id="326" r:id="rId7"/>
    <p:sldId id="327" r:id="rId8"/>
  </p:sldIdLst>
  <p:sldSz cx="9144000" cy="6858000" type="screen4x3"/>
  <p:notesSz cx="6784975" cy="9906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33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7" autoAdjust="0"/>
    <p:restoredTop sz="94660"/>
  </p:normalViewPr>
  <p:slideViewPr>
    <p:cSldViewPr>
      <p:cViewPr>
        <p:scale>
          <a:sx n="100" d="100"/>
          <a:sy n="100" d="100"/>
        </p:scale>
        <p:origin x="-288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6666666666665E-2"/>
          <c:y val="3.4375000000000003E-2"/>
          <c:w val="0.95416666666666672"/>
          <c:h val="0.744898809869669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7499999999999999E-2"/>
                  <c:y val="-9.6173398090679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7499999999999999E-2"/>
                  <c:y val="-9.3406674229189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5416666666666666E-2"/>
                  <c:y val="-0.109890204975516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.2</c:v>
                </c:pt>
                <c:pt idx="1">
                  <c:v>38.5</c:v>
                </c:pt>
                <c:pt idx="2">
                  <c:v>1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계열 2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7499999999999999E-2"/>
                  <c:y val="-7.6923143482861889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latin typeface="HY견고딕" panose="02030600000101010101" pitchFamily="18" charset="-127"/>
                      <a:ea typeface="HY견고딕" panose="02030600000101010101" pitchFamily="18" charset="-127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7499999999999999E-2"/>
                  <c:y val="-7.6923143482861889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latin typeface="HY견고딕" panose="02030600000101010101" pitchFamily="18" charset="-127"/>
                      <a:ea typeface="HY견고딕" panose="02030600000101010101" pitchFamily="18" charset="-127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5"/>
                  <c:y val="7.7042457212917553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latin typeface="HY견고딕" panose="02030600000101010101" pitchFamily="18" charset="-127"/>
                      <a:ea typeface="HY견고딕" panose="02030600000101010101" pitchFamily="18" charset="-127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trendline>
            <c:trendlineType val="linear"/>
            <c:dispRSqr val="0"/>
            <c:dispEq val="0"/>
          </c:trendline>
          <c:cat>
            <c:numRef>
              <c:f>Sheet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13.3</c:v>
                </c:pt>
                <c:pt idx="1">
                  <c:v>13.3</c:v>
                </c:pt>
                <c:pt idx="2">
                  <c:v>13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759488"/>
        <c:axId val="61762176"/>
      </c:lineChart>
      <c:catAx>
        <c:axId val="61759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accent1">
                <a:shade val="50000"/>
              </a:schemeClr>
            </a:solidFill>
          </a:ln>
        </c:spPr>
        <c:txPr>
          <a:bodyPr/>
          <a:lstStyle/>
          <a:p>
            <a:pPr>
              <a:defRPr sz="1200">
                <a:latin typeface="HY견고딕" panose="02030600000101010101" pitchFamily="18" charset="-127"/>
                <a:ea typeface="HY견고딕" panose="02030600000101010101" pitchFamily="18" charset="-127"/>
              </a:defRPr>
            </a:pPr>
            <a:endParaRPr lang="ko-KR"/>
          </a:p>
        </c:txPr>
        <c:crossAx val="61762176"/>
        <c:crosses val="autoZero"/>
        <c:auto val="1"/>
        <c:lblAlgn val="ctr"/>
        <c:lblOffset val="100"/>
        <c:noMultiLvlLbl val="0"/>
      </c:catAx>
      <c:valAx>
        <c:axId val="6176217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17594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156" cy="495300"/>
          </a:xfrm>
          <a:prstGeom prst="rect">
            <a:avLst/>
          </a:prstGeom>
        </p:spPr>
        <p:txBody>
          <a:bodyPr vert="horz" lIns="91247" tIns="45625" rIns="91247" bIns="45625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3252" y="0"/>
            <a:ext cx="2940156" cy="495300"/>
          </a:xfrm>
          <a:prstGeom prst="rect">
            <a:avLst/>
          </a:prstGeom>
        </p:spPr>
        <p:txBody>
          <a:bodyPr vert="horz" lIns="91247" tIns="45625" rIns="91247" bIns="45625" rtlCol="0"/>
          <a:lstStyle>
            <a:lvl1pPr algn="r">
              <a:defRPr sz="1200"/>
            </a:lvl1pPr>
          </a:lstStyle>
          <a:p>
            <a:fld id="{CB9F9C21-E250-428F-8E89-2F8A77951F5B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47" tIns="45625" rIns="91247" bIns="45625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8498" y="4705350"/>
            <a:ext cx="5427980" cy="4457700"/>
          </a:xfrm>
          <a:prstGeom prst="rect">
            <a:avLst/>
          </a:prstGeom>
        </p:spPr>
        <p:txBody>
          <a:bodyPr vert="horz" lIns="91247" tIns="45625" rIns="91247" bIns="45625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08982"/>
            <a:ext cx="2940156" cy="495300"/>
          </a:xfrm>
          <a:prstGeom prst="rect">
            <a:avLst/>
          </a:prstGeom>
        </p:spPr>
        <p:txBody>
          <a:bodyPr vert="horz" lIns="91247" tIns="45625" rIns="91247" bIns="45625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3252" y="9408982"/>
            <a:ext cx="2940156" cy="495300"/>
          </a:xfrm>
          <a:prstGeom prst="rect">
            <a:avLst/>
          </a:prstGeom>
        </p:spPr>
        <p:txBody>
          <a:bodyPr vert="horz" lIns="91247" tIns="45625" rIns="91247" bIns="45625" rtlCol="0" anchor="b"/>
          <a:lstStyle>
            <a:lvl1pPr algn="r">
              <a:defRPr sz="1200"/>
            </a:lvl1pPr>
          </a:lstStyle>
          <a:p>
            <a:fld id="{0C824D6E-5587-4DAD-A68B-53EE779C3DA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619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293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3618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269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61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47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818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435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2083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895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49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9816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CDEBD-D546-4C56-96AD-60EDC955B841}" type="datetimeFigureOut">
              <a:rPr lang="ko-KR" altLang="en-US" smtClean="0"/>
              <a:t>2014-10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5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jpe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5.pn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296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3291" y="2060848"/>
            <a:ext cx="6696744" cy="7797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400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도주의 실현의 중심</a:t>
            </a:r>
            <a:endParaRPr lang="en-US" altLang="ko-KR" sz="40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150042" y="2996952"/>
            <a:ext cx="6149993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873556" y="3157421"/>
            <a:ext cx="3426479" cy="623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한적십자사</a:t>
            </a:r>
            <a:r>
              <a:rPr lang="en-US" altLang="ko-KR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3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altLang="ko-KR" sz="32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7" name="그림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840" y="3311560"/>
            <a:ext cx="524761" cy="52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86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모서리가 둥근 직사각형 7"/>
          <p:cNvSpPr/>
          <p:nvPr/>
        </p:nvSpPr>
        <p:spPr>
          <a:xfrm>
            <a:off x="527227" y="1098264"/>
            <a:ext cx="8221237" cy="5023994"/>
          </a:xfrm>
          <a:prstGeom prst="roundRect">
            <a:avLst>
              <a:gd name="adj" fmla="val 5093"/>
            </a:avLst>
          </a:prstGeom>
          <a:noFill/>
          <a:ln>
            <a:solidFill>
              <a:srgbClr val="E0332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713900" y="549431"/>
            <a:ext cx="8091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월간중앙 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1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호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김성주 총재 인터뷰를 통해 본 대한적십자사의 미래</a:t>
            </a:r>
            <a:endParaRPr lang="en-US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12014" y="1206369"/>
            <a:ext cx="734503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300" dirty="0" smtClean="0">
                <a:latin typeface="+mn-ea"/>
              </a:rPr>
              <a:t>김총재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기대와 비난을 한 몸에 받는 인물</a:t>
            </a:r>
            <a:endParaRPr lang="en-US" altLang="ko-KR" sz="13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 smtClean="0">
                <a:latin typeface="+mn-ea"/>
              </a:rPr>
              <a:t>109</a:t>
            </a:r>
            <a:r>
              <a:rPr lang="ko-KR" altLang="en-US" sz="1300" dirty="0">
                <a:latin typeface="+mn-ea"/>
              </a:rPr>
              <a:t>년 적십자 역사상 첫 기업인 출신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최연소 총재로 적십자사 개혁과 남북관계 개선의 </a:t>
            </a:r>
            <a:r>
              <a:rPr lang="ko-KR" altLang="en-US" sz="1300" dirty="0" smtClean="0">
                <a:latin typeface="+mn-ea"/>
              </a:rPr>
              <a:t>적임자</a:t>
            </a:r>
            <a:endParaRPr lang="en-US" altLang="ko-KR" sz="1300" dirty="0" smtClean="0">
              <a:latin typeface="+mn-ea"/>
            </a:endParaRPr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5" y="117130"/>
            <a:ext cx="905679" cy="149851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1822262" y="5306694"/>
            <a:ext cx="67167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김총재는 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이디어도 많고 기업인이다 보니 정부보다는 자유롭게 남북문제에 </a:t>
            </a:r>
            <a:endParaRPr lang="en-US" altLang="ko-KR" sz="14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접근할 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 있다는 점 고려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간을 통한 남북관계 개선을 염두에 둔 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것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  <a:endParaRPr lang="en-US" altLang="ko-KR" sz="14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5344" y="5368249"/>
            <a:ext cx="1543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요한 박사</a:t>
            </a:r>
            <a:endParaRPr lang="ko-KR" altLang="en-US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54" y="933428"/>
            <a:ext cx="408963" cy="4125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11" y="1614413"/>
            <a:ext cx="174334" cy="195102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11" y="1302964"/>
            <a:ext cx="174334" cy="195102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695344" y="1898866"/>
            <a:ext cx="6732134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남북문제 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기아</a:t>
            </a:r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인권과 같은 분야에 관여</a:t>
            </a:r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몇 가지 </a:t>
            </a:r>
            <a:r>
              <a:rPr lang="ko-KR" altLang="en-US" sz="1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북한관련 </a:t>
            </a:r>
            <a:r>
              <a:rPr lang="ko-KR" alt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발언</a:t>
            </a:r>
            <a:endParaRPr lang="en-US" altLang="ko-KR" sz="14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 재산을 북한을 돕는데 헌납하겠다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“60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쯤에는 북한에 가서 이웃을 도우며 살 것이다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매년 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40~50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의 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NGO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들과 일할 때 주요사업은 늘 북한문제다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  <a:endParaRPr lang="en-US" altLang="ko-KR" sz="14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695344" y="3371545"/>
            <a:ext cx="79471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그 동안 김성주 총재의 </a:t>
            </a:r>
            <a:r>
              <a:rPr lang="ko-KR" alt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북한관련 활동</a:t>
            </a:r>
            <a:endParaRPr lang="en-US" altLang="ko-KR" sz="14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회사 순이익」 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%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를 사회 환원 → 그 중 상당부분 북한주민 돕기에 사용</a:t>
            </a:r>
            <a:endParaRPr lang="en-US" altLang="ko-KR" sz="14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성주재단」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북한동포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내소외계층을 위해 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4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출연</a:t>
            </a:r>
            <a:endParaRPr lang="en-US" altLang="ko-KR" sz="14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북한지원 단체「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진벨재단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백신연구소」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후원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월드비전」과 함께 북한 內 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빵공장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건립</a:t>
            </a:r>
            <a:endParaRPr lang="en-US" altLang="ko-KR" sz="14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4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옌벤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4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과학기술대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이사로서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평양과학기술대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건립 참여</a:t>
            </a:r>
            <a:endParaRPr lang="en-US" altLang="ko-KR" sz="14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6" name="오른쪽 화살표 35"/>
          <p:cNvSpPr/>
          <p:nvPr/>
        </p:nvSpPr>
        <p:spPr>
          <a:xfrm>
            <a:off x="572835" y="629204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968656" y="6194120"/>
            <a:ext cx="7815051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완벽주의 추구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완벽주의에 대한 과도한 집착과 자신감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 눈높이 성찰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1228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01313" y="633402"/>
            <a:ext cx="78231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적 신뢰와 사랑의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리브랜딩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Rebranding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추진</a:t>
            </a:r>
            <a:endParaRPr lang="en-US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Red Cross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쟁의 시대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탄생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봉사와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헌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나눔의 상징으로 거듭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표적 봉사단체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Korean Red Cross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남북한 긴장완화 연결고리와 매듭을 이어가는 소통과 협력의 역할 담당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대한적십자사」에 위상 약화와 신뢰 추락 등 대내적인 이미지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저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하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돼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있다는 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적십자회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납부율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하락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헌혈참가자 감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원봉사자 고령화 등 문제점들이 노출되고 있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더욱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북한 등 인도주의 사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약계층 지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난지역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업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무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영역은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확대돼 있음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78402" y="6134107"/>
            <a:ext cx="8502000" cy="5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대한적십자사」의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국민 신뢰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봉사활동 회복 위한 혁신 추진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250654" y="62825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5" y="117130"/>
            <a:ext cx="905679" cy="149851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1" y="3324120"/>
            <a:ext cx="2694392" cy="2519621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892" y="4267859"/>
            <a:ext cx="1649460" cy="824730"/>
          </a:xfrm>
          <a:prstGeom prst="rect">
            <a:avLst/>
          </a:prstGeom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91" y="3324120"/>
            <a:ext cx="3670548" cy="2519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369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01313" y="633402"/>
            <a:ext cx="7823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래 북한주민 대거 이탈 및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북한지역 재해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난지원 대책 강구</a:t>
            </a:r>
            <a:endParaRPr lang="en-US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적십자사운동의 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본원칙은 인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Humanity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의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분쟁지역에서의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별 없는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원봉사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한적십자사의 경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분쟁지역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봉사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원활동 미미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과 예산문제 외 의지의 문제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특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북한 붕괴 또는 천재지변 등 외부요인으로 인한 주민 대거 이탈에 대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책 전무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국의 경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북한 유사시에 대비한 난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탈자 집단수용소 등 대책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완료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요령성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동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인근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72614" y="6134107"/>
            <a:ext cx="82638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북한 유사시 대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한적십자사의 실효성 있는 다양한 지원대책 강구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387024" y="627795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6" name="오른쪽 화살표 45"/>
          <p:cNvSpPr/>
          <p:nvPr/>
        </p:nvSpPr>
        <p:spPr>
          <a:xfrm>
            <a:off x="5095478" y="1412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5" y="117130"/>
            <a:ext cx="905679" cy="149851"/>
          </a:xfrm>
          <a:prstGeom prst="rect">
            <a:avLst/>
          </a:prstGeom>
        </p:spPr>
      </p:pic>
      <p:sp>
        <p:nvSpPr>
          <p:cNvPr id="16" name="오른쪽 화살표 15"/>
          <p:cNvSpPr/>
          <p:nvPr/>
        </p:nvSpPr>
        <p:spPr>
          <a:xfrm>
            <a:off x="5463902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7092280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11" y="3284984"/>
            <a:ext cx="3748018" cy="2489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 descr="http://image.ohmynews.com/down/images/1/han_164621_1%5b202091%5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602" y="3284984"/>
            <a:ext cx="3926351" cy="2489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2885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01313" y="564610"/>
            <a:ext cx="78231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헌혈 참여자들에 대한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적십자사의 불친절 개선</a:t>
            </a:r>
            <a:endParaRPr lang="en-US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헌혈 나눔 참여는 적십자운동의 기본 원칙 중의 하나인 「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無이익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자발적 봉사」의 대표적 사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한적십자사 혈액관리본부 홈페이지‘헌혈이야기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헌혈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참여자들의 소통과 정보공유의 場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헌혈 참여자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헌혈의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집 관계자들로부터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창피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홀대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을 당한 사연이 빈번하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게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賣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 아닌 헌혈 나눔에 대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문전박대는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한적십자사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미지 실추 행위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01313" y="6134107"/>
            <a:ext cx="81198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직업적 매너리즘」에 빠진 일부 직원들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기적인 재교육과정 강화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501225" y="627795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5" y="117130"/>
            <a:ext cx="905679" cy="149851"/>
          </a:xfrm>
          <a:prstGeom prst="rect">
            <a:avLst/>
          </a:prstGeom>
        </p:spPr>
      </p:pic>
      <p:sp>
        <p:nvSpPr>
          <p:cNvPr id="16" name="오른쪽 화살표 15"/>
          <p:cNvSpPr/>
          <p:nvPr/>
        </p:nvSpPr>
        <p:spPr>
          <a:xfrm>
            <a:off x="5129522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9" name="그룹 8"/>
          <p:cNvGrpSpPr/>
          <p:nvPr/>
        </p:nvGrpSpPr>
        <p:grpSpPr>
          <a:xfrm>
            <a:off x="1112014" y="3042046"/>
            <a:ext cx="6626225" cy="2907233"/>
            <a:chOff x="556591" y="3042046"/>
            <a:chExt cx="6626225" cy="2907233"/>
          </a:xfrm>
        </p:grpSpPr>
        <p:pic>
          <p:nvPicPr>
            <p:cNvPr id="2049" name="_x188094616" descr="EMB000022003dd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591" y="3042046"/>
              <a:ext cx="6626225" cy="29072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" name="직선 연결선 5"/>
            <p:cNvCxnSpPr/>
            <p:nvPr/>
          </p:nvCxnSpPr>
          <p:spPr>
            <a:xfrm>
              <a:off x="1621157" y="4154785"/>
              <a:ext cx="2088232" cy="0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직선 연결선 21"/>
            <p:cNvCxnSpPr/>
            <p:nvPr/>
          </p:nvCxnSpPr>
          <p:spPr>
            <a:xfrm>
              <a:off x="1619669" y="4861520"/>
              <a:ext cx="2250031" cy="0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23"/>
            <p:cNvCxnSpPr/>
            <p:nvPr/>
          </p:nvCxnSpPr>
          <p:spPr>
            <a:xfrm>
              <a:off x="1619672" y="5517232"/>
              <a:ext cx="1728192" cy="0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662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01313" y="564610"/>
            <a:ext cx="78231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헌혈자 건강과 안전을 위협하는 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채혈 부작용」 개선</a:t>
            </a:r>
            <a:endParaRPr lang="en-US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채혈부작용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채혈 후 사전에 예상하지 못한 혈관미주신경반응 또는 피하출혈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발생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증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1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∼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월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,30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매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 건 이상 발생 중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상금만도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여 원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채혈부작용에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한 사전 확인사항 및 검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후휴식시간 연장 등 조치하고 있으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초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저체중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교생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헌혈자에게 많이 발생하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혈관미주신경반응 세심한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확인 필요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87561" y="5674733"/>
            <a:ext cx="8232911" cy="1029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헌혈관련증상 처리지침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표준업무절차서」 규정대로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소홀함 </a:t>
            </a:r>
            <a:endParaRPr lang="en-US" altLang="ko-KR" sz="22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없는 채혈업무 실천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271966" y="583353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5" y="117130"/>
            <a:ext cx="905679" cy="149851"/>
          </a:xfrm>
          <a:prstGeom prst="rect">
            <a:avLst/>
          </a:prstGeom>
        </p:spPr>
      </p:pic>
      <p:sp>
        <p:nvSpPr>
          <p:cNvPr id="16" name="오른쪽 화살표 15"/>
          <p:cNvSpPr/>
          <p:nvPr/>
        </p:nvSpPr>
        <p:spPr>
          <a:xfrm>
            <a:off x="6423173" y="17819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78" y="3021446"/>
            <a:ext cx="3464524" cy="2442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 descr="http://www.bloodinfo.net/file_util.do?action=image&amp;siteid=bloodinfo&amp;filepath=upload_image/20/133584907262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0965" y="3021446"/>
            <a:ext cx="3264416" cy="2442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435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01313" y="564610"/>
            <a:ext cx="78231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적십자사 종사자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헌혈율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제고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헌혈 기피인식」 해소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한적십자사의 가장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핵심적인 사업이 바로 혈액사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작 종사자들은 기피 중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2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∼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8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월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본사 직원 및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혈액원장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헌혈율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평균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3%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원장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준 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%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불과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50021" y="6042268"/>
            <a:ext cx="82003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상태 사유라는 궁색한 답변보다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모범이 되는 적십자 돼야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371366" y="618635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5" y="117130"/>
            <a:ext cx="905679" cy="149851"/>
          </a:xfrm>
          <a:prstGeom prst="rect">
            <a:avLst/>
          </a:prstGeom>
        </p:spPr>
      </p:pic>
      <p:sp>
        <p:nvSpPr>
          <p:cNvPr id="16" name="오른쪽 화살표 15"/>
          <p:cNvSpPr/>
          <p:nvPr/>
        </p:nvSpPr>
        <p:spPr>
          <a:xfrm>
            <a:off x="6598132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5868144" y="1412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772121" y="2225409"/>
            <a:ext cx="7852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한적십자사 답변  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“</a:t>
            </a:r>
            <a:r>
              <a:rPr lang="ko-KR" alt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인적인 건강상태에 따라 헌혈을 하지 못하는 경우가 많다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”</a:t>
            </a:r>
            <a:endParaRPr lang="ko-KR" altLang="en-US" sz="1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40" y="2246946"/>
            <a:ext cx="262380" cy="26470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344" y="3050260"/>
            <a:ext cx="2341655" cy="2341655"/>
          </a:xfrm>
          <a:prstGeom prst="rect">
            <a:avLst/>
          </a:prstGeom>
        </p:spPr>
      </p:pic>
      <p:grpSp>
        <p:nvGrpSpPr>
          <p:cNvPr id="14" name="그룹 13"/>
          <p:cNvGrpSpPr/>
          <p:nvPr/>
        </p:nvGrpSpPr>
        <p:grpSpPr>
          <a:xfrm>
            <a:off x="526684" y="3122268"/>
            <a:ext cx="6096000" cy="2761698"/>
            <a:chOff x="2339752" y="2780928"/>
            <a:chExt cx="6096000" cy="2761698"/>
          </a:xfrm>
        </p:grpSpPr>
        <p:graphicFrame>
          <p:nvGraphicFramePr>
            <p:cNvPr id="9" name="차트 8"/>
            <p:cNvGraphicFramePr/>
            <p:nvPr>
              <p:extLst>
                <p:ext uri="{D42A27DB-BD31-4B8C-83A1-F6EECF244321}">
                  <p14:modId xmlns:p14="http://schemas.microsoft.com/office/powerpoint/2010/main" val="282351428"/>
                </p:ext>
              </p:extLst>
            </p:nvPr>
          </p:nvGraphicFramePr>
          <p:xfrm>
            <a:off x="2339752" y="2780928"/>
            <a:ext cx="6096000" cy="27616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pic>
          <p:nvPicPr>
            <p:cNvPr id="10" name="그림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3347864" y="3356992"/>
              <a:ext cx="139425" cy="156035"/>
            </a:xfrm>
            <a:prstGeom prst="rect">
              <a:avLst/>
            </a:prstGeom>
          </p:spPr>
        </p:pic>
        <p:pic>
          <p:nvPicPr>
            <p:cNvPr id="29" name="그림 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5327954" y="3520955"/>
              <a:ext cx="139425" cy="156035"/>
            </a:xfrm>
            <a:prstGeom prst="rect">
              <a:avLst/>
            </a:prstGeom>
          </p:spPr>
        </p:pic>
        <p:pic>
          <p:nvPicPr>
            <p:cNvPr id="30" name="그림 2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7236296" y="4221088"/>
              <a:ext cx="139425" cy="156035"/>
            </a:xfrm>
            <a:prstGeom prst="rect">
              <a:avLst/>
            </a:prstGeom>
          </p:spPr>
        </p:pic>
        <p:pic>
          <p:nvPicPr>
            <p:cNvPr id="36" name="그림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3377989" y="4377124"/>
              <a:ext cx="139425" cy="156035"/>
            </a:xfrm>
            <a:prstGeom prst="rect">
              <a:avLst/>
            </a:prstGeom>
          </p:spPr>
        </p:pic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5353520" y="4392138"/>
              <a:ext cx="139425" cy="156035"/>
            </a:xfrm>
            <a:prstGeom prst="rect">
              <a:avLst/>
            </a:prstGeom>
          </p:spPr>
        </p:pic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7243922" y="4407674"/>
              <a:ext cx="139425" cy="15603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581433" y="3637849"/>
            <a:ext cx="904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본사직원</a:t>
            </a:r>
            <a:endParaRPr lang="ko-KR" altLang="en-US" sz="1200" smtClean="0">
              <a:solidFill>
                <a:schemeClr val="accent1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81647" y="4657981"/>
            <a:ext cx="904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혈액원장</a:t>
            </a:r>
            <a:endParaRPr lang="ko-KR" altLang="en-US" sz="12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65267" y="4997331"/>
            <a:ext cx="720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/>
              <a:t>(</a:t>
            </a:r>
            <a:r>
              <a:rPr lang="ko-KR" altLang="en-US" sz="1050" dirty="0" smtClean="0"/>
              <a:t>단위</a:t>
            </a:r>
            <a:r>
              <a:rPr lang="en-US" altLang="ko-KR" sz="1050" dirty="0" smtClean="0"/>
              <a:t>: %)</a:t>
            </a:r>
            <a:endParaRPr lang="ko-KR" altLang="en-US" sz="1050" dirty="0" smtClean="0"/>
          </a:p>
        </p:txBody>
      </p:sp>
    </p:spTree>
    <p:extLst>
      <p:ext uri="{BB962C8B-B14F-4D97-AF65-F5344CB8AC3E}">
        <p14:creationId xmlns:p14="http://schemas.microsoft.com/office/powerpoint/2010/main" val="380564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4</TotalTime>
  <Words>646</Words>
  <Application>Microsoft Office PowerPoint</Application>
  <PresentationFormat>화면 슬라이드 쇼(4:3)</PresentationFormat>
  <Paragraphs>76</Paragraphs>
  <Slides>7</Slides>
  <Notes>6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9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45</cp:revision>
  <cp:lastPrinted>2014-10-26T10:33:19Z</cp:lastPrinted>
  <dcterms:created xsi:type="dcterms:W3CDTF">2014-10-11T05:07:05Z</dcterms:created>
  <dcterms:modified xsi:type="dcterms:W3CDTF">2014-10-26T10:51:19Z</dcterms:modified>
</cp:coreProperties>
</file>